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9"/>
  </p:notesMasterIdLst>
  <p:sldIdLst>
    <p:sldId id="312" r:id="rId5"/>
    <p:sldId id="267" r:id="rId6"/>
    <p:sldId id="313" r:id="rId7"/>
    <p:sldId id="300" r:id="rId8"/>
    <p:sldId id="317" r:id="rId9"/>
    <p:sldId id="318" r:id="rId10"/>
    <p:sldId id="321" r:id="rId11"/>
    <p:sldId id="316" r:id="rId12"/>
    <p:sldId id="322" r:id="rId13"/>
    <p:sldId id="315" r:id="rId14"/>
    <p:sldId id="272" r:id="rId15"/>
    <p:sldId id="320" r:id="rId16"/>
    <p:sldId id="297" r:id="rId17"/>
    <p:sldId id="262" r:id="rId18"/>
  </p:sldIdLst>
  <p:sldSz cx="12192000" cy="6858000"/>
  <p:notesSz cx="6858000" cy="9144000"/>
  <p:custDataLst>
    <p:tags r:id="rId20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2E5886A-ABDB-4127-85CD-9314B6D84B8D}" v="32" dt="2020-01-24T12:01:16.33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xelsson Jenny" userId="35153831-a041-4e19-963c-026d50be729b" providerId="ADAL" clId="{B2E5886A-ABDB-4127-85CD-9314B6D84B8D}"/>
    <pc:docChg chg="undo custSel addSld delSld modSld">
      <pc:chgData name="Axelsson Jenny" userId="35153831-a041-4e19-963c-026d50be729b" providerId="ADAL" clId="{B2E5886A-ABDB-4127-85CD-9314B6D84B8D}" dt="2020-01-24T12:01:16.339" v="448"/>
      <pc:docMkLst>
        <pc:docMk/>
      </pc:docMkLst>
      <pc:sldChg chg="modSp">
        <pc:chgData name="Axelsson Jenny" userId="35153831-a041-4e19-963c-026d50be729b" providerId="ADAL" clId="{B2E5886A-ABDB-4127-85CD-9314B6D84B8D}" dt="2020-01-20T13:45:36.978" v="53" actId="20577"/>
        <pc:sldMkLst>
          <pc:docMk/>
          <pc:sldMk cId="1351546238" sldId="267"/>
        </pc:sldMkLst>
        <pc:spChg chg="mod">
          <ac:chgData name="Axelsson Jenny" userId="35153831-a041-4e19-963c-026d50be729b" providerId="ADAL" clId="{B2E5886A-ABDB-4127-85CD-9314B6D84B8D}" dt="2020-01-20T13:45:36.978" v="53" actId="20577"/>
          <ac:spMkLst>
            <pc:docMk/>
            <pc:sldMk cId="1351546238" sldId="267"/>
            <ac:spMk id="5" creationId="{E66C5368-8331-464F-8C50-5BB97655E8A7}"/>
          </ac:spMkLst>
        </pc:spChg>
      </pc:sldChg>
      <pc:sldChg chg="modAnim">
        <pc:chgData name="Axelsson Jenny" userId="35153831-a041-4e19-963c-026d50be729b" providerId="ADAL" clId="{B2E5886A-ABDB-4127-85CD-9314B6D84B8D}" dt="2020-01-24T12:01:16.339" v="448"/>
        <pc:sldMkLst>
          <pc:docMk/>
          <pc:sldMk cId="3796863757" sldId="313"/>
        </pc:sldMkLst>
      </pc:sldChg>
      <pc:sldChg chg="add">
        <pc:chgData name="Axelsson Jenny" userId="35153831-a041-4e19-963c-026d50be729b" providerId="ADAL" clId="{B2E5886A-ABDB-4127-85CD-9314B6D84B8D}" dt="2020-01-24T12:00:54.917" v="444"/>
        <pc:sldMkLst>
          <pc:docMk/>
          <pc:sldMk cId="2668455938" sldId="316"/>
        </pc:sldMkLst>
      </pc:sldChg>
      <pc:sldChg chg="addSp delSp modSp add">
        <pc:chgData name="Axelsson Jenny" userId="35153831-a041-4e19-963c-026d50be729b" providerId="ADAL" clId="{B2E5886A-ABDB-4127-85CD-9314B6D84B8D}" dt="2020-01-20T14:22:39.779" v="426" actId="403"/>
        <pc:sldMkLst>
          <pc:docMk/>
          <pc:sldMk cId="1087366172" sldId="317"/>
        </pc:sldMkLst>
        <pc:spChg chg="mod">
          <ac:chgData name="Axelsson Jenny" userId="35153831-a041-4e19-963c-026d50be729b" providerId="ADAL" clId="{B2E5886A-ABDB-4127-85CD-9314B6D84B8D}" dt="2020-01-20T13:53:01.398" v="378" actId="1076"/>
          <ac:spMkLst>
            <pc:docMk/>
            <pc:sldMk cId="1087366172" sldId="317"/>
            <ac:spMk id="2" creationId="{28142FAB-2177-42C2-83A7-B8FCD6F5DAB5}"/>
          </ac:spMkLst>
        </pc:spChg>
        <pc:spChg chg="add del mod">
          <ac:chgData name="Axelsson Jenny" userId="35153831-a041-4e19-963c-026d50be729b" providerId="ADAL" clId="{B2E5886A-ABDB-4127-85CD-9314B6D84B8D}" dt="2020-01-20T13:52:54.813" v="376" actId="478"/>
          <ac:spMkLst>
            <pc:docMk/>
            <pc:sldMk cId="1087366172" sldId="317"/>
            <ac:spMk id="3" creationId="{FFAF5EEC-0936-4ED1-91D2-F11CD2AE839F}"/>
          </ac:spMkLst>
        </pc:spChg>
        <pc:spChg chg="mod">
          <ac:chgData name="Axelsson Jenny" userId="35153831-a041-4e19-963c-026d50be729b" providerId="ADAL" clId="{B2E5886A-ABDB-4127-85CD-9314B6D84B8D}" dt="2020-01-20T14:22:19.398" v="422" actId="14100"/>
          <ac:spMkLst>
            <pc:docMk/>
            <pc:sldMk cId="1087366172" sldId="317"/>
            <ac:spMk id="5" creationId="{E66C5368-8331-464F-8C50-5BB97655E8A7}"/>
          </ac:spMkLst>
        </pc:spChg>
        <pc:spChg chg="add del">
          <ac:chgData name="Axelsson Jenny" userId="35153831-a041-4e19-963c-026d50be729b" providerId="ADAL" clId="{B2E5886A-ABDB-4127-85CD-9314B6D84B8D}" dt="2020-01-20T13:52:44.182" v="371" actId="478"/>
          <ac:spMkLst>
            <pc:docMk/>
            <pc:sldMk cId="1087366172" sldId="317"/>
            <ac:spMk id="6" creationId="{8E8D1791-A655-44E9-A55B-03714C1DB25C}"/>
          </ac:spMkLst>
        </pc:spChg>
        <pc:spChg chg="add mod">
          <ac:chgData name="Axelsson Jenny" userId="35153831-a041-4e19-963c-026d50be729b" providerId="ADAL" clId="{B2E5886A-ABDB-4127-85CD-9314B6D84B8D}" dt="2020-01-20T14:22:39.779" v="426" actId="403"/>
          <ac:spMkLst>
            <pc:docMk/>
            <pc:sldMk cId="1087366172" sldId="317"/>
            <ac:spMk id="7" creationId="{4F1B58EF-0AF9-4835-911F-C3ECB385AAED}"/>
          </ac:spMkLst>
        </pc:spChg>
      </pc:sldChg>
      <pc:sldChg chg="addSp delSp modSp add">
        <pc:chgData name="Axelsson Jenny" userId="35153831-a041-4e19-963c-026d50be729b" providerId="ADAL" clId="{B2E5886A-ABDB-4127-85CD-9314B6D84B8D}" dt="2020-01-20T14:27:06.760" v="442" actId="1076"/>
        <pc:sldMkLst>
          <pc:docMk/>
          <pc:sldMk cId="3410182091" sldId="318"/>
        </pc:sldMkLst>
        <pc:spChg chg="mod">
          <ac:chgData name="Axelsson Jenny" userId="35153831-a041-4e19-963c-026d50be729b" providerId="ADAL" clId="{B2E5886A-ABDB-4127-85CD-9314B6D84B8D}" dt="2020-01-20T13:52:21.882" v="363" actId="20577"/>
          <ac:spMkLst>
            <pc:docMk/>
            <pc:sldMk cId="3410182091" sldId="318"/>
            <ac:spMk id="2" creationId="{28142FAB-2177-42C2-83A7-B8FCD6F5DAB5}"/>
          </ac:spMkLst>
        </pc:spChg>
        <pc:spChg chg="del mod">
          <ac:chgData name="Axelsson Jenny" userId="35153831-a041-4e19-963c-026d50be729b" providerId="ADAL" clId="{B2E5886A-ABDB-4127-85CD-9314B6D84B8D}" dt="2020-01-20T13:52:36.727" v="370" actId="478"/>
          <ac:spMkLst>
            <pc:docMk/>
            <pc:sldMk cId="3410182091" sldId="318"/>
            <ac:spMk id="3" creationId="{FFAF5EEC-0936-4ED1-91D2-F11CD2AE839F}"/>
          </ac:spMkLst>
        </pc:spChg>
        <pc:spChg chg="del mod">
          <ac:chgData name="Axelsson Jenny" userId="35153831-a041-4e19-963c-026d50be729b" providerId="ADAL" clId="{B2E5886A-ABDB-4127-85CD-9314B6D84B8D}" dt="2020-01-20T13:52:31.869" v="366" actId="478"/>
          <ac:spMkLst>
            <pc:docMk/>
            <pc:sldMk cId="3410182091" sldId="318"/>
            <ac:spMk id="5" creationId="{E66C5368-8331-464F-8C50-5BB97655E8A7}"/>
          </ac:spMkLst>
        </pc:spChg>
        <pc:spChg chg="del mod">
          <ac:chgData name="Axelsson Jenny" userId="35153831-a041-4e19-963c-026d50be729b" providerId="ADAL" clId="{B2E5886A-ABDB-4127-85CD-9314B6D84B8D}" dt="2020-01-20T13:52:34.629" v="368" actId="478"/>
          <ac:spMkLst>
            <pc:docMk/>
            <pc:sldMk cId="3410182091" sldId="318"/>
            <ac:spMk id="6" creationId="{8E8D1791-A655-44E9-A55B-03714C1DB25C}"/>
          </ac:spMkLst>
        </pc:spChg>
        <pc:picChg chg="add mod">
          <ac:chgData name="Axelsson Jenny" userId="35153831-a041-4e19-963c-026d50be729b" providerId="ADAL" clId="{B2E5886A-ABDB-4127-85CD-9314B6D84B8D}" dt="2020-01-20T14:27:06.760" v="442" actId="1076"/>
          <ac:picMkLst>
            <pc:docMk/>
            <pc:sldMk cId="3410182091" sldId="318"/>
            <ac:picMk id="2050" creationId="{9488EBE9-0A96-4228-AF72-FCB2F7FA46D0}"/>
          </ac:picMkLst>
        </pc:picChg>
      </pc:sldChg>
      <pc:sldChg chg="modSp add del">
        <pc:chgData name="Axelsson Jenny" userId="35153831-a041-4e19-963c-026d50be729b" providerId="ADAL" clId="{B2E5886A-ABDB-4127-85CD-9314B6D84B8D}" dt="2020-01-24T12:00:57.331" v="445" actId="2696"/>
        <pc:sldMkLst>
          <pc:docMk/>
          <pc:sldMk cId="1729643480" sldId="319"/>
        </pc:sldMkLst>
        <pc:spChg chg="mod">
          <ac:chgData name="Axelsson Jenny" userId="35153831-a041-4e19-963c-026d50be729b" providerId="ADAL" clId="{B2E5886A-ABDB-4127-85CD-9314B6D84B8D}" dt="2020-01-20T13:53:41.085" v="397" actId="20577"/>
          <ac:spMkLst>
            <pc:docMk/>
            <pc:sldMk cId="1729643480" sldId="319"/>
            <ac:spMk id="2" creationId="{28142FAB-2177-42C2-83A7-B8FCD6F5DAB5}"/>
          </ac:spMkLst>
        </pc:spChg>
      </pc:sldChg>
      <pc:sldChg chg="modSp add">
        <pc:chgData name="Axelsson Jenny" userId="35153831-a041-4e19-963c-026d50be729b" providerId="ADAL" clId="{B2E5886A-ABDB-4127-85CD-9314B6D84B8D}" dt="2020-01-20T14:27:18.849" v="443" actId="6549"/>
        <pc:sldMkLst>
          <pc:docMk/>
          <pc:sldMk cId="4158479537" sldId="320"/>
        </pc:sldMkLst>
        <pc:spChg chg="mod">
          <ac:chgData name="Axelsson Jenny" userId="35153831-a041-4e19-963c-026d50be729b" providerId="ADAL" clId="{B2E5886A-ABDB-4127-85CD-9314B6D84B8D}" dt="2020-01-20T13:54:21.347" v="414" actId="20577"/>
          <ac:spMkLst>
            <pc:docMk/>
            <pc:sldMk cId="4158479537" sldId="320"/>
            <ac:spMk id="2" creationId="{28142FAB-2177-42C2-83A7-B8FCD6F5DAB5}"/>
          </ac:spMkLst>
        </pc:spChg>
        <pc:spChg chg="mod">
          <ac:chgData name="Axelsson Jenny" userId="35153831-a041-4e19-963c-026d50be729b" providerId="ADAL" clId="{B2E5886A-ABDB-4127-85CD-9314B6D84B8D}" dt="2020-01-20T14:27:18.849" v="443" actId="6549"/>
          <ac:spMkLst>
            <pc:docMk/>
            <pc:sldMk cId="4158479537" sldId="320"/>
            <ac:spMk id="5" creationId="{E66C5368-8331-464F-8C50-5BB97655E8A7}"/>
          </ac:spMkLst>
        </pc:spChg>
      </pc:sldChg>
      <pc:sldChg chg="add">
        <pc:chgData name="Axelsson Jenny" userId="35153831-a041-4e19-963c-026d50be729b" providerId="ADAL" clId="{B2E5886A-ABDB-4127-85CD-9314B6D84B8D}" dt="2020-01-24T12:00:54.917" v="444"/>
        <pc:sldMkLst>
          <pc:docMk/>
          <pc:sldMk cId="2768632427" sldId="321"/>
        </pc:sldMkLst>
      </pc:sldChg>
      <pc:sldChg chg="add">
        <pc:chgData name="Axelsson Jenny" userId="35153831-a041-4e19-963c-026d50be729b" providerId="ADAL" clId="{B2E5886A-ABDB-4127-85CD-9314B6D84B8D}" dt="2020-01-24T12:00:54.917" v="444"/>
        <pc:sldMkLst>
          <pc:docMk/>
          <pc:sldMk cId="106689303" sldId="322"/>
        </pc:sldMkLst>
      </pc:sldChg>
    </pc:docChg>
  </pc:docChgLst>
  <pc:docChgLst>
    <pc:chgData name="Axelsson Jenny" userId="35153831-a041-4e19-963c-026d50be729b" providerId="ADAL" clId="{01AB967F-AB43-4754-88E8-9BB312CFD42C}"/>
    <pc:docChg chg="addSld delSld modSld">
      <pc:chgData name="Axelsson Jenny" userId="35153831-a041-4e19-963c-026d50be729b" providerId="ADAL" clId="{01AB967F-AB43-4754-88E8-9BB312CFD42C}" dt="2020-01-20T13:12:58.404" v="141" actId="2696"/>
      <pc:docMkLst>
        <pc:docMk/>
      </pc:docMkLst>
      <pc:sldChg chg="modSp del modNotesTx">
        <pc:chgData name="Axelsson Jenny" userId="35153831-a041-4e19-963c-026d50be729b" providerId="ADAL" clId="{01AB967F-AB43-4754-88E8-9BB312CFD42C}" dt="2020-01-20T13:12:39.252" v="139" actId="2696"/>
        <pc:sldMkLst>
          <pc:docMk/>
          <pc:sldMk cId="3651951432" sldId="268"/>
        </pc:sldMkLst>
        <pc:spChg chg="mod">
          <ac:chgData name="Axelsson Jenny" userId="35153831-a041-4e19-963c-026d50be729b" providerId="ADAL" clId="{01AB967F-AB43-4754-88E8-9BB312CFD42C}" dt="2020-01-20T13:09:38.046" v="136" actId="20577"/>
          <ac:spMkLst>
            <pc:docMk/>
            <pc:sldMk cId="3651951432" sldId="268"/>
            <ac:spMk id="6" creationId="{6586BAA2-D33F-4499-934E-80F08AEC1FB3}"/>
          </ac:spMkLst>
        </pc:spChg>
      </pc:sldChg>
      <pc:sldChg chg="add del">
        <pc:chgData name="Axelsson Jenny" userId="35153831-a041-4e19-963c-026d50be729b" providerId="ADAL" clId="{01AB967F-AB43-4754-88E8-9BB312CFD42C}" dt="2020-01-20T13:12:58.404" v="141" actId="2696"/>
        <pc:sldMkLst>
          <pc:docMk/>
          <pc:sldMk cId="2217266714" sldId="314"/>
        </pc:sldMkLst>
      </pc:sldChg>
      <pc:sldChg chg="add">
        <pc:chgData name="Axelsson Jenny" userId="35153831-a041-4e19-963c-026d50be729b" providerId="ADAL" clId="{01AB967F-AB43-4754-88E8-9BB312CFD42C}" dt="2020-01-20T13:12:55.946" v="140"/>
        <pc:sldMkLst>
          <pc:docMk/>
          <pc:sldMk cId="1683595309" sldId="315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023D13-F35E-4529-B3F7-0633FF5C8FD7}" type="datetimeFigureOut">
              <a:rPr lang="sv-SE" smtClean="0"/>
              <a:t>2020-01-24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DEDCF4-EC53-45ED-9657-3068B2115E4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487823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DEDCF4-EC53-45ED-9657-3068B2115E42}" type="slidenum">
              <a:rPr lang="sv-SE" smtClean="0"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86784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artsida utan bild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F6D261CD-7475-462D-96A6-570AC61F5569}"/>
              </a:ext>
            </a:extLst>
          </p:cNvPr>
          <p:cNvSpPr/>
          <p:nvPr userDrawn="1"/>
        </p:nvSpPr>
        <p:spPr>
          <a:xfrm>
            <a:off x="0" y="0"/>
            <a:ext cx="12192000" cy="5644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C5D4EC2-9FA8-4FE8-96F7-29DCCDEDDB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78728"/>
            <a:ext cx="12202510" cy="2200292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C4679F00-E121-4F6A-8D29-D9E7E550A9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952672"/>
            <a:ext cx="9144000" cy="2387600"/>
          </a:xfrm>
        </p:spPr>
        <p:txBody>
          <a:bodyPr anchor="t"/>
          <a:lstStyle>
            <a:lvl1pPr algn="ctr">
              <a:defRPr sz="54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kan</a:t>
            </a:r>
            <a:br>
              <a:rPr lang="sv-SE"/>
            </a:br>
            <a:r>
              <a:rPr lang="sv-SE"/>
              <a:t>vara på tre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F9F3B956-728F-4271-9E5F-A466177507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1176772"/>
            <a:ext cx="9144000" cy="410286"/>
          </a:xfrm>
        </p:spPr>
        <p:txBody>
          <a:bodyPr anchor="b"/>
          <a:lstStyle>
            <a:lvl1pPr marL="0" indent="0" algn="ctr">
              <a:buNone/>
              <a:defRPr sz="1400" b="1" cap="all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0D46721D-F352-4C9F-8260-E5322AB478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4800" y="5685098"/>
            <a:ext cx="1752911" cy="711240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25C65CF8-0829-4AB6-891A-190544AC3286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EBE118A1-F797-4EAF-B63F-697D3863BC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0137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 bild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chemeClr val="accent1"/>
                </a:solidFill>
              </a:rPr>
              <a:t>Rubrik</a:t>
            </a:r>
            <a:r>
              <a:rPr lang="sv-SE"/>
              <a:t>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23338" y="1693273"/>
            <a:ext cx="5958536" cy="356452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E79EAE5D-FEC0-4EF7-BBA5-3270B4215AD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35038" y="1619250"/>
            <a:ext cx="4110037" cy="3709988"/>
          </a:xfrm>
          <a:prstGeom prst="roundRect">
            <a:avLst>
              <a:gd name="adj" fmla="val 1369"/>
            </a:avLst>
          </a:prstGeom>
          <a:noFill/>
        </p:spPr>
        <p:txBody>
          <a:bodyPr tIns="576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579557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 bild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296" y="84221"/>
            <a:ext cx="10567736" cy="1149264"/>
          </a:xfrm>
        </p:spPr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chemeClr val="accent1"/>
                </a:solidFill>
              </a:rPr>
              <a:t>Rubrik</a:t>
            </a:r>
            <a:r>
              <a:rPr lang="sv-SE"/>
              <a:t>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424" y="1693273"/>
            <a:ext cx="5919810" cy="356452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bild 9">
            <a:extLst>
              <a:ext uri="{FF2B5EF4-FFF2-40B4-BE49-F238E27FC236}">
                <a16:creationId xmlns:a16="http://schemas.microsoft.com/office/drawing/2014/main" id="{DCD0C5FE-126D-416C-9A5B-02C9EAD42FB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46348" y="1619250"/>
            <a:ext cx="4110037" cy="3709988"/>
          </a:xfrm>
          <a:prstGeom prst="roundRect">
            <a:avLst>
              <a:gd name="adj" fmla="val 1369"/>
            </a:avLst>
          </a:prstGeom>
          <a:noFill/>
        </p:spPr>
        <p:txBody>
          <a:bodyPr tIns="576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41979121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ut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8D5545B1-EC61-4586-B3F7-6354B25D50F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3DDFEC98-4970-485D-A1F1-BBD55667B1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7216" y="2392723"/>
            <a:ext cx="3357569" cy="136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8491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artsida utan bild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>
            <a:extLst>
              <a:ext uri="{FF2B5EF4-FFF2-40B4-BE49-F238E27FC236}">
                <a16:creationId xmlns:a16="http://schemas.microsoft.com/office/drawing/2014/main" id="{0C5D4EC2-9FA8-4FE8-96F7-29DCCDEDDB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78728"/>
            <a:ext cx="12202510" cy="2200292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C4679F00-E121-4F6A-8D29-D9E7E550A9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952672"/>
            <a:ext cx="9144000" cy="2387600"/>
          </a:xfrm>
        </p:spPr>
        <p:txBody>
          <a:bodyPr anchor="t"/>
          <a:lstStyle>
            <a:lvl1pPr algn="ctr">
              <a:defRPr sz="54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kan</a:t>
            </a:r>
            <a:br>
              <a:rPr lang="sv-SE"/>
            </a:br>
            <a:r>
              <a:rPr lang="sv-SE"/>
              <a:t>vara på tre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F9F3B956-728F-4271-9E5F-A466177507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1176772"/>
            <a:ext cx="9144000" cy="410286"/>
          </a:xfrm>
        </p:spPr>
        <p:txBody>
          <a:bodyPr anchor="b"/>
          <a:lstStyle>
            <a:lvl1pPr marL="0" indent="0" algn="ctr">
              <a:buNone/>
              <a:defRPr sz="1400" b="1" cap="all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0D46721D-F352-4C9F-8260-E5322AB478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4800" y="5685098"/>
            <a:ext cx="1752911" cy="711240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25C65CF8-0829-4AB6-891A-190544AC3286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EBE118A1-F797-4EAF-B63F-697D3863BC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6496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198FF978-7AC6-4A7A-943A-D6BAC9303385}"/>
              </a:ext>
            </a:extLst>
          </p:cNvPr>
          <p:cNvSpPr/>
          <p:nvPr userDrawn="1"/>
        </p:nvSpPr>
        <p:spPr>
          <a:xfrm>
            <a:off x="0" y="612997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733B926C-A7EB-4393-AE91-4468A5CB55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0510" y="0"/>
            <a:ext cx="12202510" cy="4781496"/>
          </a:xfrm>
          <a:custGeom>
            <a:avLst/>
            <a:gdLst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18234"/>
              <a:gd name="connsiteX1" fmla="*/ 12192000 w 12192000"/>
              <a:gd name="connsiteY1" fmla="*/ 0 h 5318234"/>
              <a:gd name="connsiteX2" fmla="*/ 12192000 w 12192000"/>
              <a:gd name="connsiteY2" fmla="*/ 5307013 h 5318234"/>
              <a:gd name="connsiteX3" fmla="*/ 6243145 w 12192000"/>
              <a:gd name="connsiteY3" fmla="*/ 5318234 h 5318234"/>
              <a:gd name="connsiteX4" fmla="*/ 0 w 12192000"/>
              <a:gd name="connsiteY4" fmla="*/ 5307013 h 5318234"/>
              <a:gd name="connsiteX5" fmla="*/ 0 w 12192000"/>
              <a:gd name="connsiteY5" fmla="*/ 0 h 5318234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10510 w 12202510"/>
              <a:gd name="connsiteY0" fmla="*/ 0 h 4781496"/>
              <a:gd name="connsiteX1" fmla="*/ 12202510 w 12202510"/>
              <a:gd name="connsiteY1" fmla="*/ 0 h 4781496"/>
              <a:gd name="connsiteX2" fmla="*/ 12202510 w 12202510"/>
              <a:gd name="connsiteY2" fmla="*/ 4781496 h 4781496"/>
              <a:gd name="connsiteX3" fmla="*/ 0 w 12202510"/>
              <a:gd name="connsiteY3" fmla="*/ 4686903 h 4781496"/>
              <a:gd name="connsiteX4" fmla="*/ 10510 w 12202510"/>
              <a:gd name="connsiteY4" fmla="*/ 0 h 4781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2510" h="4781496">
                <a:moveTo>
                  <a:pt x="10510" y="0"/>
                </a:moveTo>
                <a:lnTo>
                  <a:pt x="12202510" y="0"/>
                </a:lnTo>
                <a:lnTo>
                  <a:pt x="12202510" y="4781496"/>
                </a:lnTo>
                <a:cubicBezTo>
                  <a:pt x="10755586" y="4140365"/>
                  <a:pt x="5598509" y="2490241"/>
                  <a:pt x="0" y="4686903"/>
                </a:cubicBezTo>
                <a:cubicBezTo>
                  <a:pt x="3503" y="3124602"/>
                  <a:pt x="7007" y="1562301"/>
                  <a:pt x="10510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tIns="133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435504"/>
            <a:ext cx="10515600" cy="1149264"/>
          </a:xfrm>
        </p:spPr>
        <p:txBody>
          <a:bodyPr/>
          <a:lstStyle>
            <a:lvl1pPr algn="ctr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vå rader</a:t>
            </a:r>
          </a:p>
        </p:txBody>
      </p:sp>
      <p:sp>
        <p:nvSpPr>
          <p:cNvPr id="10" name="Underrubrik 2">
            <a:extLst>
              <a:ext uri="{FF2B5EF4-FFF2-40B4-BE49-F238E27FC236}">
                <a16:creationId xmlns:a16="http://schemas.microsoft.com/office/drawing/2014/main" id="{A1446BD1-50A4-40FE-9679-6F29CE2913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30272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1380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198FF978-7AC6-4A7A-943A-D6BAC9303385}"/>
              </a:ext>
            </a:extLst>
          </p:cNvPr>
          <p:cNvSpPr/>
          <p:nvPr userDrawn="1"/>
        </p:nvSpPr>
        <p:spPr>
          <a:xfrm>
            <a:off x="0" y="612997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733B926C-A7EB-4393-AE91-4468A5CB55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0510" y="0"/>
            <a:ext cx="12202510" cy="4781496"/>
          </a:xfrm>
          <a:custGeom>
            <a:avLst/>
            <a:gdLst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18234"/>
              <a:gd name="connsiteX1" fmla="*/ 12192000 w 12192000"/>
              <a:gd name="connsiteY1" fmla="*/ 0 h 5318234"/>
              <a:gd name="connsiteX2" fmla="*/ 12192000 w 12192000"/>
              <a:gd name="connsiteY2" fmla="*/ 5307013 h 5318234"/>
              <a:gd name="connsiteX3" fmla="*/ 6243145 w 12192000"/>
              <a:gd name="connsiteY3" fmla="*/ 5318234 h 5318234"/>
              <a:gd name="connsiteX4" fmla="*/ 0 w 12192000"/>
              <a:gd name="connsiteY4" fmla="*/ 5307013 h 5318234"/>
              <a:gd name="connsiteX5" fmla="*/ 0 w 12192000"/>
              <a:gd name="connsiteY5" fmla="*/ 0 h 5318234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10510 w 12202510"/>
              <a:gd name="connsiteY0" fmla="*/ 0 h 4781496"/>
              <a:gd name="connsiteX1" fmla="*/ 12202510 w 12202510"/>
              <a:gd name="connsiteY1" fmla="*/ 0 h 4781496"/>
              <a:gd name="connsiteX2" fmla="*/ 12202510 w 12202510"/>
              <a:gd name="connsiteY2" fmla="*/ 4781496 h 4781496"/>
              <a:gd name="connsiteX3" fmla="*/ 0 w 12202510"/>
              <a:gd name="connsiteY3" fmla="*/ 4686903 h 4781496"/>
              <a:gd name="connsiteX4" fmla="*/ 10510 w 12202510"/>
              <a:gd name="connsiteY4" fmla="*/ 0 h 4781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2510" h="4781496">
                <a:moveTo>
                  <a:pt x="10510" y="0"/>
                </a:moveTo>
                <a:lnTo>
                  <a:pt x="12202510" y="0"/>
                </a:lnTo>
                <a:lnTo>
                  <a:pt x="12202510" y="4781496"/>
                </a:lnTo>
                <a:cubicBezTo>
                  <a:pt x="10755586" y="4140365"/>
                  <a:pt x="5598509" y="2490241"/>
                  <a:pt x="0" y="4686903"/>
                </a:cubicBezTo>
                <a:cubicBezTo>
                  <a:pt x="3503" y="3124602"/>
                  <a:pt x="7007" y="1562301"/>
                  <a:pt x="1051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tIns="133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435504"/>
            <a:ext cx="10515600" cy="1149264"/>
          </a:xfrm>
        </p:spPr>
        <p:txBody>
          <a:bodyPr/>
          <a:lstStyle>
            <a:lvl1pPr algn="ctr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vå rader</a:t>
            </a:r>
          </a:p>
        </p:txBody>
      </p:sp>
      <p:sp>
        <p:nvSpPr>
          <p:cNvPr id="10" name="Underrubrik 2">
            <a:extLst>
              <a:ext uri="{FF2B5EF4-FFF2-40B4-BE49-F238E27FC236}">
                <a16:creationId xmlns:a16="http://schemas.microsoft.com/office/drawing/2014/main" id="{A1446BD1-50A4-40FE-9679-6F29CE2913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30272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3282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, stående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2B9B1E09-5306-4C10-87AB-2A88B20FDCA3}"/>
              </a:ext>
            </a:extLst>
          </p:cNvPr>
          <p:cNvSpPr/>
          <p:nvPr userDrawn="1"/>
        </p:nvSpPr>
        <p:spPr>
          <a:xfrm>
            <a:off x="4534293" y="0"/>
            <a:ext cx="7657707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A6D5D8B6-D25B-4C93-B295-E27694AD21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09044" cy="6124575"/>
          </a:xfrm>
          <a:custGeom>
            <a:avLst/>
            <a:gdLst>
              <a:gd name="connsiteX0" fmla="*/ 0 w 5468938"/>
              <a:gd name="connsiteY0" fmla="*/ 0 h 6858000"/>
              <a:gd name="connsiteX1" fmla="*/ 2734469 w 5468938"/>
              <a:gd name="connsiteY1" fmla="*/ 0 h 6858000"/>
              <a:gd name="connsiteX2" fmla="*/ 5468938 w 5468938"/>
              <a:gd name="connsiteY2" fmla="*/ 3429000 h 6858000"/>
              <a:gd name="connsiteX3" fmla="*/ 2734469 w 5468938"/>
              <a:gd name="connsiteY3" fmla="*/ 6858000 h 6858000"/>
              <a:gd name="connsiteX4" fmla="*/ 0 w 5468938"/>
              <a:gd name="connsiteY4" fmla="*/ 6858000 h 6858000"/>
              <a:gd name="connsiteX5" fmla="*/ 0 w 5468938"/>
              <a:gd name="connsiteY5" fmla="*/ 0 h 6858000"/>
              <a:gd name="connsiteX0" fmla="*/ 0 w 5792556"/>
              <a:gd name="connsiteY0" fmla="*/ 0 h 6858000"/>
              <a:gd name="connsiteX1" fmla="*/ 4724633 w 5792556"/>
              <a:gd name="connsiteY1" fmla="*/ 0 h 6858000"/>
              <a:gd name="connsiteX2" fmla="*/ 5468938 w 5792556"/>
              <a:gd name="connsiteY2" fmla="*/ 3429000 h 6858000"/>
              <a:gd name="connsiteX3" fmla="*/ 2734469 w 5792556"/>
              <a:gd name="connsiteY3" fmla="*/ 6858000 h 6858000"/>
              <a:gd name="connsiteX4" fmla="*/ 0 w 5792556"/>
              <a:gd name="connsiteY4" fmla="*/ 6858000 h 6858000"/>
              <a:gd name="connsiteX5" fmla="*/ 0 w 5792556"/>
              <a:gd name="connsiteY5" fmla="*/ 0 h 6858000"/>
              <a:gd name="connsiteX0" fmla="*/ 0 w 5715582"/>
              <a:gd name="connsiteY0" fmla="*/ 0 h 6858000"/>
              <a:gd name="connsiteX1" fmla="*/ 4724633 w 5715582"/>
              <a:gd name="connsiteY1" fmla="*/ 0 h 6858000"/>
              <a:gd name="connsiteX2" fmla="*/ 5468938 w 5715582"/>
              <a:gd name="connsiteY2" fmla="*/ 3429000 h 6858000"/>
              <a:gd name="connsiteX3" fmla="*/ 4814281 w 5715582"/>
              <a:gd name="connsiteY3" fmla="*/ 6858000 h 6858000"/>
              <a:gd name="connsiteX4" fmla="*/ 0 w 5715582"/>
              <a:gd name="connsiteY4" fmla="*/ 6858000 h 6858000"/>
              <a:gd name="connsiteX5" fmla="*/ 0 w 5715582"/>
              <a:gd name="connsiteY5" fmla="*/ 0 h 6858000"/>
              <a:gd name="connsiteX0" fmla="*/ 0 w 5657592"/>
              <a:gd name="connsiteY0" fmla="*/ 0 h 6858000"/>
              <a:gd name="connsiteX1" fmla="*/ 4724633 w 5657592"/>
              <a:gd name="connsiteY1" fmla="*/ 0 h 6858000"/>
              <a:gd name="connsiteX2" fmla="*/ 5468938 w 5657592"/>
              <a:gd name="connsiteY2" fmla="*/ 3429000 h 6858000"/>
              <a:gd name="connsiteX3" fmla="*/ 4814281 w 5657592"/>
              <a:gd name="connsiteY3" fmla="*/ 6858000 h 6858000"/>
              <a:gd name="connsiteX4" fmla="*/ 0 w 5657592"/>
              <a:gd name="connsiteY4" fmla="*/ 6858000 h 6858000"/>
              <a:gd name="connsiteX5" fmla="*/ 0 w 5657592"/>
              <a:gd name="connsiteY5" fmla="*/ 0 h 6858000"/>
              <a:gd name="connsiteX0" fmla="*/ 0 w 5540797"/>
              <a:gd name="connsiteY0" fmla="*/ 0 h 6858000"/>
              <a:gd name="connsiteX1" fmla="*/ 4724633 w 5540797"/>
              <a:gd name="connsiteY1" fmla="*/ 0 h 6858000"/>
              <a:gd name="connsiteX2" fmla="*/ 5468938 w 5540797"/>
              <a:gd name="connsiteY2" fmla="*/ 3429000 h 6858000"/>
              <a:gd name="connsiteX3" fmla="*/ 4814281 w 5540797"/>
              <a:gd name="connsiteY3" fmla="*/ 6858000 h 6858000"/>
              <a:gd name="connsiteX4" fmla="*/ 0 w 5540797"/>
              <a:gd name="connsiteY4" fmla="*/ 6858000 h 6858000"/>
              <a:gd name="connsiteX5" fmla="*/ 0 w 5540797"/>
              <a:gd name="connsiteY5" fmla="*/ 0 h 6858000"/>
              <a:gd name="connsiteX0" fmla="*/ 0 w 5367229"/>
              <a:gd name="connsiteY0" fmla="*/ 0 h 6858000"/>
              <a:gd name="connsiteX1" fmla="*/ 4724633 w 5367229"/>
              <a:gd name="connsiteY1" fmla="*/ 0 h 6858000"/>
              <a:gd name="connsiteX2" fmla="*/ 4814281 w 5367229"/>
              <a:gd name="connsiteY2" fmla="*/ 6858000 h 6858000"/>
              <a:gd name="connsiteX3" fmla="*/ 0 w 5367229"/>
              <a:gd name="connsiteY3" fmla="*/ 6858000 h 6858000"/>
              <a:gd name="connsiteX4" fmla="*/ 0 w 5367229"/>
              <a:gd name="connsiteY4" fmla="*/ 0 h 6858000"/>
              <a:gd name="connsiteX0" fmla="*/ 0 w 5373612"/>
              <a:gd name="connsiteY0" fmla="*/ 0 h 6858000"/>
              <a:gd name="connsiteX1" fmla="*/ 4724633 w 5373612"/>
              <a:gd name="connsiteY1" fmla="*/ 0 h 6858000"/>
              <a:gd name="connsiteX2" fmla="*/ 4814281 w 5373612"/>
              <a:gd name="connsiteY2" fmla="*/ 6858000 h 6858000"/>
              <a:gd name="connsiteX3" fmla="*/ 0 w 5373612"/>
              <a:gd name="connsiteY3" fmla="*/ 6858000 h 6858000"/>
              <a:gd name="connsiteX4" fmla="*/ 0 w 5373612"/>
              <a:gd name="connsiteY4" fmla="*/ 0 h 6858000"/>
              <a:gd name="connsiteX0" fmla="*/ 0 w 5409044"/>
              <a:gd name="connsiteY0" fmla="*/ 0 h 6858000"/>
              <a:gd name="connsiteX1" fmla="*/ 4724633 w 5409044"/>
              <a:gd name="connsiteY1" fmla="*/ 0 h 6858000"/>
              <a:gd name="connsiteX2" fmla="*/ 4814281 w 5409044"/>
              <a:gd name="connsiteY2" fmla="*/ 6858000 h 6858000"/>
              <a:gd name="connsiteX3" fmla="*/ 0 w 5409044"/>
              <a:gd name="connsiteY3" fmla="*/ 6858000 h 6858000"/>
              <a:gd name="connsiteX4" fmla="*/ 0 w 540904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9044" h="6858000">
                <a:moveTo>
                  <a:pt x="0" y="0"/>
                </a:moveTo>
                <a:lnTo>
                  <a:pt x="4724633" y="0"/>
                </a:lnTo>
                <a:cubicBezTo>
                  <a:pt x="5544943" y="1510553"/>
                  <a:pt x="5691367" y="5015753"/>
                  <a:pt x="481428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1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3929" y="2438399"/>
            <a:ext cx="5732929" cy="2518839"/>
          </a:xfrm>
        </p:spPr>
        <p:txBody>
          <a:bodyPr anchor="t"/>
          <a:lstStyle>
            <a:lvl1pPr algn="l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re rader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  <p:sp>
        <p:nvSpPr>
          <p:cNvPr id="32" name="Rektangel 31">
            <a:extLst>
              <a:ext uri="{FF2B5EF4-FFF2-40B4-BE49-F238E27FC236}">
                <a16:creationId xmlns:a16="http://schemas.microsoft.com/office/drawing/2014/main" id="{813EFC0E-885A-43B5-9260-07804A71EAA3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3" name="Underrubrik 2">
            <a:extLst>
              <a:ext uri="{FF2B5EF4-FFF2-40B4-BE49-F238E27FC236}">
                <a16:creationId xmlns:a16="http://schemas.microsoft.com/office/drawing/2014/main" id="{B8308509-CDE4-4C50-93DD-8185D40323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28479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34" name="Bildobjekt 33">
            <a:extLst>
              <a:ext uri="{FF2B5EF4-FFF2-40B4-BE49-F238E27FC236}">
                <a16:creationId xmlns:a16="http://schemas.microsoft.com/office/drawing/2014/main" id="{F82C88D0-E5EA-4C03-9F7E-472FA161F6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298796"/>
            <a:ext cx="811630" cy="329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2239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, stående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2B9B1E09-5306-4C10-87AB-2A88B20FDCA3}"/>
              </a:ext>
            </a:extLst>
          </p:cNvPr>
          <p:cNvSpPr/>
          <p:nvPr userDrawn="1"/>
        </p:nvSpPr>
        <p:spPr>
          <a:xfrm>
            <a:off x="4534293" y="0"/>
            <a:ext cx="765770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A6D5D8B6-D25B-4C93-B295-E27694AD21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09044" cy="6115050"/>
          </a:xfrm>
          <a:custGeom>
            <a:avLst/>
            <a:gdLst>
              <a:gd name="connsiteX0" fmla="*/ 0 w 5468938"/>
              <a:gd name="connsiteY0" fmla="*/ 0 h 6858000"/>
              <a:gd name="connsiteX1" fmla="*/ 2734469 w 5468938"/>
              <a:gd name="connsiteY1" fmla="*/ 0 h 6858000"/>
              <a:gd name="connsiteX2" fmla="*/ 5468938 w 5468938"/>
              <a:gd name="connsiteY2" fmla="*/ 3429000 h 6858000"/>
              <a:gd name="connsiteX3" fmla="*/ 2734469 w 5468938"/>
              <a:gd name="connsiteY3" fmla="*/ 6858000 h 6858000"/>
              <a:gd name="connsiteX4" fmla="*/ 0 w 5468938"/>
              <a:gd name="connsiteY4" fmla="*/ 6858000 h 6858000"/>
              <a:gd name="connsiteX5" fmla="*/ 0 w 5468938"/>
              <a:gd name="connsiteY5" fmla="*/ 0 h 6858000"/>
              <a:gd name="connsiteX0" fmla="*/ 0 w 5792556"/>
              <a:gd name="connsiteY0" fmla="*/ 0 h 6858000"/>
              <a:gd name="connsiteX1" fmla="*/ 4724633 w 5792556"/>
              <a:gd name="connsiteY1" fmla="*/ 0 h 6858000"/>
              <a:gd name="connsiteX2" fmla="*/ 5468938 w 5792556"/>
              <a:gd name="connsiteY2" fmla="*/ 3429000 h 6858000"/>
              <a:gd name="connsiteX3" fmla="*/ 2734469 w 5792556"/>
              <a:gd name="connsiteY3" fmla="*/ 6858000 h 6858000"/>
              <a:gd name="connsiteX4" fmla="*/ 0 w 5792556"/>
              <a:gd name="connsiteY4" fmla="*/ 6858000 h 6858000"/>
              <a:gd name="connsiteX5" fmla="*/ 0 w 5792556"/>
              <a:gd name="connsiteY5" fmla="*/ 0 h 6858000"/>
              <a:gd name="connsiteX0" fmla="*/ 0 w 5715582"/>
              <a:gd name="connsiteY0" fmla="*/ 0 h 6858000"/>
              <a:gd name="connsiteX1" fmla="*/ 4724633 w 5715582"/>
              <a:gd name="connsiteY1" fmla="*/ 0 h 6858000"/>
              <a:gd name="connsiteX2" fmla="*/ 5468938 w 5715582"/>
              <a:gd name="connsiteY2" fmla="*/ 3429000 h 6858000"/>
              <a:gd name="connsiteX3" fmla="*/ 4814281 w 5715582"/>
              <a:gd name="connsiteY3" fmla="*/ 6858000 h 6858000"/>
              <a:gd name="connsiteX4" fmla="*/ 0 w 5715582"/>
              <a:gd name="connsiteY4" fmla="*/ 6858000 h 6858000"/>
              <a:gd name="connsiteX5" fmla="*/ 0 w 5715582"/>
              <a:gd name="connsiteY5" fmla="*/ 0 h 6858000"/>
              <a:gd name="connsiteX0" fmla="*/ 0 w 5657592"/>
              <a:gd name="connsiteY0" fmla="*/ 0 h 6858000"/>
              <a:gd name="connsiteX1" fmla="*/ 4724633 w 5657592"/>
              <a:gd name="connsiteY1" fmla="*/ 0 h 6858000"/>
              <a:gd name="connsiteX2" fmla="*/ 5468938 w 5657592"/>
              <a:gd name="connsiteY2" fmla="*/ 3429000 h 6858000"/>
              <a:gd name="connsiteX3" fmla="*/ 4814281 w 5657592"/>
              <a:gd name="connsiteY3" fmla="*/ 6858000 h 6858000"/>
              <a:gd name="connsiteX4" fmla="*/ 0 w 5657592"/>
              <a:gd name="connsiteY4" fmla="*/ 6858000 h 6858000"/>
              <a:gd name="connsiteX5" fmla="*/ 0 w 5657592"/>
              <a:gd name="connsiteY5" fmla="*/ 0 h 6858000"/>
              <a:gd name="connsiteX0" fmla="*/ 0 w 5540797"/>
              <a:gd name="connsiteY0" fmla="*/ 0 h 6858000"/>
              <a:gd name="connsiteX1" fmla="*/ 4724633 w 5540797"/>
              <a:gd name="connsiteY1" fmla="*/ 0 h 6858000"/>
              <a:gd name="connsiteX2" fmla="*/ 5468938 w 5540797"/>
              <a:gd name="connsiteY2" fmla="*/ 3429000 h 6858000"/>
              <a:gd name="connsiteX3" fmla="*/ 4814281 w 5540797"/>
              <a:gd name="connsiteY3" fmla="*/ 6858000 h 6858000"/>
              <a:gd name="connsiteX4" fmla="*/ 0 w 5540797"/>
              <a:gd name="connsiteY4" fmla="*/ 6858000 h 6858000"/>
              <a:gd name="connsiteX5" fmla="*/ 0 w 5540797"/>
              <a:gd name="connsiteY5" fmla="*/ 0 h 6858000"/>
              <a:gd name="connsiteX0" fmla="*/ 0 w 5367229"/>
              <a:gd name="connsiteY0" fmla="*/ 0 h 6858000"/>
              <a:gd name="connsiteX1" fmla="*/ 4724633 w 5367229"/>
              <a:gd name="connsiteY1" fmla="*/ 0 h 6858000"/>
              <a:gd name="connsiteX2" fmla="*/ 4814281 w 5367229"/>
              <a:gd name="connsiteY2" fmla="*/ 6858000 h 6858000"/>
              <a:gd name="connsiteX3" fmla="*/ 0 w 5367229"/>
              <a:gd name="connsiteY3" fmla="*/ 6858000 h 6858000"/>
              <a:gd name="connsiteX4" fmla="*/ 0 w 5367229"/>
              <a:gd name="connsiteY4" fmla="*/ 0 h 6858000"/>
              <a:gd name="connsiteX0" fmla="*/ 0 w 5373612"/>
              <a:gd name="connsiteY0" fmla="*/ 0 h 6858000"/>
              <a:gd name="connsiteX1" fmla="*/ 4724633 w 5373612"/>
              <a:gd name="connsiteY1" fmla="*/ 0 h 6858000"/>
              <a:gd name="connsiteX2" fmla="*/ 4814281 w 5373612"/>
              <a:gd name="connsiteY2" fmla="*/ 6858000 h 6858000"/>
              <a:gd name="connsiteX3" fmla="*/ 0 w 5373612"/>
              <a:gd name="connsiteY3" fmla="*/ 6858000 h 6858000"/>
              <a:gd name="connsiteX4" fmla="*/ 0 w 5373612"/>
              <a:gd name="connsiteY4" fmla="*/ 0 h 6858000"/>
              <a:gd name="connsiteX0" fmla="*/ 0 w 5409044"/>
              <a:gd name="connsiteY0" fmla="*/ 0 h 6858000"/>
              <a:gd name="connsiteX1" fmla="*/ 4724633 w 5409044"/>
              <a:gd name="connsiteY1" fmla="*/ 0 h 6858000"/>
              <a:gd name="connsiteX2" fmla="*/ 4814281 w 5409044"/>
              <a:gd name="connsiteY2" fmla="*/ 6858000 h 6858000"/>
              <a:gd name="connsiteX3" fmla="*/ 0 w 5409044"/>
              <a:gd name="connsiteY3" fmla="*/ 6858000 h 6858000"/>
              <a:gd name="connsiteX4" fmla="*/ 0 w 540904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9044" h="6858000">
                <a:moveTo>
                  <a:pt x="0" y="0"/>
                </a:moveTo>
                <a:lnTo>
                  <a:pt x="4724633" y="0"/>
                </a:lnTo>
                <a:cubicBezTo>
                  <a:pt x="5544943" y="1510553"/>
                  <a:pt x="5691367" y="5015753"/>
                  <a:pt x="481428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1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3929" y="2438399"/>
            <a:ext cx="5732929" cy="2518839"/>
          </a:xfrm>
        </p:spPr>
        <p:txBody>
          <a:bodyPr anchor="t"/>
          <a:lstStyle>
            <a:lvl1pPr algn="l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re rader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  <p:sp>
        <p:nvSpPr>
          <p:cNvPr id="32" name="Rektangel 31">
            <a:extLst>
              <a:ext uri="{FF2B5EF4-FFF2-40B4-BE49-F238E27FC236}">
                <a16:creationId xmlns:a16="http://schemas.microsoft.com/office/drawing/2014/main" id="{D7C6379A-E5B9-4DBE-87E3-D8A0F4B3241B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3" name="Underrubrik 2">
            <a:extLst>
              <a:ext uri="{FF2B5EF4-FFF2-40B4-BE49-F238E27FC236}">
                <a16:creationId xmlns:a16="http://schemas.microsoft.com/office/drawing/2014/main" id="{98DE3D41-C2B5-4D95-91B2-B0834D588D4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28479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34" name="Bildobjekt 33">
            <a:extLst>
              <a:ext uri="{FF2B5EF4-FFF2-40B4-BE49-F238E27FC236}">
                <a16:creationId xmlns:a16="http://schemas.microsoft.com/office/drawing/2014/main" id="{2BD7D724-E84A-4821-8A86-18337A8323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298796"/>
            <a:ext cx="811630" cy="329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6850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sida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B980B2C3-6720-4B17-BCEF-D058EE6EA5EF}"/>
              </a:ext>
            </a:extLst>
          </p:cNvPr>
          <p:cNvSpPr/>
          <p:nvPr userDrawn="1"/>
        </p:nvSpPr>
        <p:spPr>
          <a:xfrm>
            <a:off x="0" y="0"/>
            <a:ext cx="12192000" cy="61170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40043"/>
            <a:ext cx="10515600" cy="2679331"/>
          </a:xfrm>
        </p:spPr>
        <p:txBody>
          <a:bodyPr anchor="ctr"/>
          <a:lstStyle>
            <a:lvl1pPr algn="ctr">
              <a:defRPr sz="4600"/>
            </a:lvl1pPr>
          </a:lstStyle>
          <a:p>
            <a:r>
              <a:rPr lang="sv-SE">
                <a:solidFill>
                  <a:schemeClr val="accent1"/>
                </a:solidFill>
              </a:rPr>
              <a:t>Vi finns på</a:t>
            </a:r>
            <a:br>
              <a:rPr lang="sv-SE"/>
            </a:br>
            <a:r>
              <a:rPr lang="sv-SE"/>
              <a:t>webb och telefon och</a:t>
            </a:r>
            <a:br>
              <a:rPr lang="sv-SE"/>
            </a:br>
            <a:r>
              <a:rPr lang="sv-SE"/>
              <a:t>har öppet dygnet runt</a:t>
            </a:r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E744CDB5-661C-4791-9896-07C2BE0466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B7223757-76B0-47E7-AE0D-6C3F025C0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618460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ida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40043"/>
            <a:ext cx="10515600" cy="2679331"/>
          </a:xfrm>
        </p:spPr>
        <p:txBody>
          <a:bodyPr anchor="ctr"/>
          <a:lstStyle>
            <a:lvl1pPr algn="ctr">
              <a:defRPr sz="4600"/>
            </a:lvl1pPr>
          </a:lstStyle>
          <a:p>
            <a:r>
              <a:rPr lang="sv-SE">
                <a:solidFill>
                  <a:schemeClr val="accent1"/>
                </a:solidFill>
              </a:rPr>
              <a:t>Vi finns på</a:t>
            </a:r>
            <a:br>
              <a:rPr lang="sv-SE"/>
            </a:br>
            <a:r>
              <a:rPr lang="sv-SE"/>
              <a:t>webb och telefon och</a:t>
            </a:r>
            <a:br>
              <a:rPr lang="sv-SE"/>
            </a:br>
            <a:r>
              <a:rPr lang="sv-SE"/>
              <a:t>har öppet dygnet runt</a:t>
            </a:r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E744CDB5-661C-4791-9896-07C2BE0466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B7223757-76B0-47E7-AE0D-6C3F025C0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842316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296" y="84221"/>
            <a:ext cx="10072630" cy="1149264"/>
          </a:xfrm>
        </p:spPr>
        <p:txBody>
          <a:bodyPr/>
          <a:lstStyle>
            <a:lvl1pPr>
              <a:defRPr/>
            </a:lvl1pPr>
          </a:lstStyle>
          <a:p>
            <a:r>
              <a:rPr lang="sv-SE"/>
              <a:t>Rubrik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423" y="1693273"/>
            <a:ext cx="10018845" cy="356452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36571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3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223EEBE-07D2-4BC2-B732-B72D949BF9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449757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7" imgW="411" imgH="412" progId="TCLayout.ActiveDocument.1">
                  <p:embed/>
                </p:oleObj>
              </mc:Choice>
              <mc:Fallback>
                <p:oleObj name="think-cell Slide" r:id="rId17" imgW="411" imgH="412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223EEBE-07D2-4BC2-B732-B72D949B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>
            <a:extLst>
              <a:ext uri="{FF2B5EF4-FFF2-40B4-BE49-F238E27FC236}">
                <a16:creationId xmlns:a16="http://schemas.microsoft.com/office/drawing/2014/main" id="{92491012-DCA1-42B2-89F4-9B6C3B60D0E8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400" b="1" i="0" baseline="0">
              <a:latin typeface="Inter"/>
              <a:ea typeface="+mj-ea"/>
              <a:cs typeface="+mj-cs"/>
              <a:sym typeface="Inter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113D54B3-3F29-493D-B9C7-8FF2C8DE3569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DC7C7845-42F2-47E4-96D5-7F5977D342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296" y="84221"/>
            <a:ext cx="10515600" cy="11492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E2B6E503-A6AE-440E-9524-D5848DBA3F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22424" y="1693273"/>
            <a:ext cx="10459450" cy="35645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83F6A5D-1C51-4365-ABBC-26E2E26DE4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CE1800B5-0CC4-499E-AD85-61BE4A07F5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DEAFFFF7-0E10-4F4B-9970-4B0EEECA8447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cxnSp>
        <p:nvCxnSpPr>
          <p:cNvPr id="16" name="Rak koppling 15">
            <a:extLst>
              <a:ext uri="{FF2B5EF4-FFF2-40B4-BE49-F238E27FC236}">
                <a16:creationId xmlns:a16="http://schemas.microsoft.com/office/drawing/2014/main" id="{FB36DCB9-B0BC-4692-9E94-7E0F650AAE02}"/>
              </a:ext>
            </a:extLst>
          </p:cNvPr>
          <p:cNvCxnSpPr>
            <a:cxnSpLocks/>
          </p:cNvCxnSpPr>
          <p:nvPr userDrawn="1"/>
        </p:nvCxnSpPr>
        <p:spPr>
          <a:xfrm flipH="1">
            <a:off x="642809" y="6450806"/>
            <a:ext cx="16637" cy="8133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ktangel 3">
            <a:extLst>
              <a:ext uri="{FF2B5EF4-FFF2-40B4-BE49-F238E27FC236}">
                <a16:creationId xmlns:a16="http://schemas.microsoft.com/office/drawing/2014/main" id="{EB9E73E2-B998-4067-931F-01E9716BB421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4857C6E5-A5AF-4290-829D-C981D052ABE1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584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1" r:id="rId3"/>
    <p:sldLayoutId id="2147483659" r:id="rId4"/>
    <p:sldLayoutId id="2147483656" r:id="rId5"/>
    <p:sldLayoutId id="2147483657" r:id="rId6"/>
    <p:sldLayoutId id="2147483660" r:id="rId7"/>
    <p:sldLayoutId id="2147483653" r:id="rId8"/>
    <p:sldLayoutId id="2147483654" r:id="rId9"/>
    <p:sldLayoutId id="2147483650" r:id="rId10"/>
    <p:sldLayoutId id="2147483652" r:id="rId11"/>
    <p:sldLayoutId id="2147483655" r:id="rId12"/>
  </p:sldLayoutIdLst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 spc="-15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inera.atlassian.net/wiki/spaces/OSOB/pages/3063342/Information+fr+n+f+rvaltningen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6573EA7-C0D5-4A99-856B-5428F6A2DA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/>
          <a:lstStyle/>
          <a:p>
            <a:r>
              <a:rPr lang="sv-SE">
                <a:solidFill>
                  <a:schemeClr val="accent1"/>
                </a:solidFill>
              </a:rPr>
              <a:t>Användarforum </a:t>
            </a:r>
            <a:br>
              <a:rPr lang="sv-SE">
                <a:solidFill>
                  <a:schemeClr val="accent1"/>
                </a:solidFill>
              </a:rPr>
            </a:br>
            <a:r>
              <a:rPr lang="sv-SE" sz="1200">
                <a:solidFill>
                  <a:schemeClr val="accent1"/>
                </a:solidFill>
              </a:rPr>
              <a:t> </a:t>
            </a:r>
            <a:br>
              <a:rPr lang="sv-SE">
                <a:solidFill>
                  <a:schemeClr val="accent1"/>
                </a:solidFill>
              </a:rPr>
            </a:br>
            <a:r>
              <a:rPr lang="sv-SE" sz="3600">
                <a:solidFill>
                  <a:schemeClr val="accent1"/>
                </a:solidFill>
              </a:rPr>
              <a:t>Stöd och behandling</a:t>
            </a:r>
            <a:endParaRPr lang="sv-SE"/>
          </a:p>
        </p:txBody>
      </p:sp>
      <p:sp>
        <p:nvSpPr>
          <p:cNvPr id="4" name="Underrubrik 3">
            <a:extLst>
              <a:ext uri="{FF2B5EF4-FFF2-40B4-BE49-F238E27FC236}">
                <a16:creationId xmlns:a16="http://schemas.microsoft.com/office/drawing/2014/main" id="{7C3A8192-81A1-4B54-8CE2-055E1C43C1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/>
              <a:t>2020-01-24</a:t>
            </a:r>
          </a:p>
        </p:txBody>
      </p:sp>
    </p:spTree>
    <p:extLst>
      <p:ext uri="{BB962C8B-B14F-4D97-AF65-F5344CB8AC3E}">
        <p14:creationId xmlns:p14="http://schemas.microsoft.com/office/powerpoint/2010/main" val="29745789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4D0169-CC05-460A-9112-34C2544EC3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0</a:t>
            </a:fld>
            <a:endParaRPr lang="sv-SE"/>
          </a:p>
        </p:txBody>
      </p:sp>
      <p:sp>
        <p:nvSpPr>
          <p:cNvPr id="5" name="Rubrik 1">
            <a:extLst>
              <a:ext uri="{FF2B5EF4-FFF2-40B4-BE49-F238E27FC236}">
                <a16:creationId xmlns:a16="http://schemas.microsoft.com/office/drawing/2014/main" id="{F38421D3-A5CF-4E7E-BBB9-F14E52D2A010}"/>
              </a:ext>
            </a:extLst>
          </p:cNvPr>
          <p:cNvSpPr txBox="1">
            <a:spLocks/>
          </p:cNvSpPr>
          <p:nvPr/>
        </p:nvSpPr>
        <p:spPr>
          <a:xfrm>
            <a:off x="582040" y="307375"/>
            <a:ext cx="11027920" cy="170367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ctr"/>
            <a:endParaRPr lang="sv-SE" sz="40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6586BAA2-D33F-4499-934E-80F08AEC1FB3}"/>
              </a:ext>
            </a:extLst>
          </p:cNvPr>
          <p:cNvSpPr/>
          <p:nvPr/>
        </p:nvSpPr>
        <p:spPr>
          <a:xfrm>
            <a:off x="981747" y="1159210"/>
            <a:ext cx="10228506" cy="300351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2000" b="1"/>
              <a:t>Information från Nationella förvaltningen kommer att publiceras på </a:t>
            </a:r>
            <a:r>
              <a:rPr lang="sv-SE" sz="2000" b="1">
                <a:solidFill>
                  <a:srgbClr val="00206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örvaltningens informationssida </a:t>
            </a:r>
            <a:r>
              <a:rPr lang="sv-SE" sz="2000" b="1">
                <a:solidFill>
                  <a:srgbClr val="002060"/>
                </a:solidFill>
              </a:rPr>
              <a:t> </a:t>
            </a:r>
          </a:p>
          <a:p>
            <a:pPr algn="ctr"/>
            <a:endParaRPr lang="sv-SE" sz="2000" b="1"/>
          </a:p>
          <a:p>
            <a:pPr algn="ctr"/>
            <a:r>
              <a:rPr lang="sv-SE" sz="2000" b="1"/>
              <a:t>Om informationen är akut eller känslig kommer informationen att skickas via mail </a:t>
            </a:r>
          </a:p>
        </p:txBody>
      </p:sp>
    </p:spTree>
    <p:extLst>
      <p:ext uri="{BB962C8B-B14F-4D97-AF65-F5344CB8AC3E}">
        <p14:creationId xmlns:p14="http://schemas.microsoft.com/office/powerpoint/2010/main" val="16835953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/>
              <a:t>Agenda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1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666776" y="2165682"/>
            <a:ext cx="10517780" cy="31859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Information från förvaltningen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 b="1"/>
              <a:t>Anmälda fråg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b="1"/>
          </a:p>
        </p:txBody>
      </p:sp>
    </p:spTree>
    <p:extLst>
      <p:ext uri="{BB962C8B-B14F-4D97-AF65-F5344CB8AC3E}">
        <p14:creationId xmlns:p14="http://schemas.microsoft.com/office/powerpoint/2010/main" val="32295243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/>
              <a:t>Anmälda frågor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2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765990" y="1836018"/>
            <a:ext cx="10517780" cy="31859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584795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C28D93B-810B-4496-B5A7-8067431BE5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40043"/>
            <a:ext cx="10515600" cy="4588041"/>
          </a:xfrm>
        </p:spPr>
        <p:txBody>
          <a:bodyPr/>
          <a:lstStyle/>
          <a:p>
            <a:r>
              <a:rPr lang="sv-SE"/>
              <a:t>Tack för er uppmärksamhet!</a:t>
            </a:r>
            <a:br>
              <a:rPr lang="sv-SE"/>
            </a:br>
            <a:br>
              <a:rPr lang="sv-SE" sz="2400">
                <a:latin typeface="+mn-lt"/>
              </a:rPr>
            </a:br>
            <a:r>
              <a:rPr lang="sv-SE" sz="2400">
                <a:latin typeface="+mn-lt"/>
              </a:rPr>
              <a:t>Finns det fördjupningsområde ni är intresserade av att höra om, </a:t>
            </a:r>
            <a:br>
              <a:rPr lang="sv-SE" sz="2400">
                <a:latin typeface="+mn-lt"/>
              </a:rPr>
            </a:br>
            <a:r>
              <a:rPr lang="sv-SE" sz="2400">
                <a:latin typeface="+mn-lt"/>
              </a:rPr>
              <a:t>skicka ett ärende till supporten och tagga med ”Användarforum”</a:t>
            </a:r>
            <a:endParaRPr lang="sv-SE">
              <a:latin typeface="+mn-lt"/>
            </a:endParaRP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1B2485EB-416D-41A4-8A24-F8A094637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0576C32-35B8-4D1C-9C86-5C58C6FF8A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1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196669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03282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/>
              <a:t>Syfte: Koordinera och samla in behov samt kanal för informations- och erfarenhetsutbyte 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2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666776" y="2165682"/>
            <a:ext cx="10517780" cy="31859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sv-SE" sz="2000" b="1"/>
              <a:t>Agenda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Information från förvaltningen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Användarforum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Eventuell referensgrupp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Gallringstiden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Anmälda fråg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b="1"/>
          </a:p>
        </p:txBody>
      </p:sp>
    </p:spTree>
    <p:extLst>
      <p:ext uri="{BB962C8B-B14F-4D97-AF65-F5344CB8AC3E}">
        <p14:creationId xmlns:p14="http://schemas.microsoft.com/office/powerpoint/2010/main" val="13515462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C188DDA-2BC1-47A7-98B0-EB7B7609B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296" y="84221"/>
            <a:ext cx="10072630" cy="1149264"/>
          </a:xfrm>
        </p:spPr>
        <p:txBody>
          <a:bodyPr/>
          <a:lstStyle/>
          <a:p>
            <a:r>
              <a:rPr lang="sv-SE">
                <a:solidFill>
                  <a:schemeClr val="accent1"/>
                </a:solidFill>
              </a:rPr>
              <a:t>Användarforum</a:t>
            </a:r>
            <a:r>
              <a:rPr lang="sv-SE"/>
              <a:t> 2020</a:t>
            </a:r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7867A35-46C9-4426-B58D-BB9B1C9F3D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E8A80EED-C9B0-4652-B4D0-C2ED1DB5C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3</a:t>
            </a:fld>
            <a:endParaRPr lang="sv-SE"/>
          </a:p>
        </p:txBody>
      </p:sp>
      <p:sp>
        <p:nvSpPr>
          <p:cNvPr id="9" name="Rektangel: rundade hörn 8">
            <a:extLst>
              <a:ext uri="{FF2B5EF4-FFF2-40B4-BE49-F238E27FC236}">
                <a16:creationId xmlns:a16="http://schemas.microsoft.com/office/drawing/2014/main" id="{1A671D9C-E6E9-40DD-95ED-B30F5A215892}"/>
              </a:ext>
            </a:extLst>
          </p:cNvPr>
          <p:cNvSpPr/>
          <p:nvPr/>
        </p:nvSpPr>
        <p:spPr>
          <a:xfrm>
            <a:off x="874296" y="2177776"/>
            <a:ext cx="2488334" cy="59033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/>
              <a:t>Information från förvaltningen</a:t>
            </a:r>
          </a:p>
        </p:txBody>
      </p:sp>
      <p:sp>
        <p:nvSpPr>
          <p:cNvPr id="12" name="Rektangel: rundade hörn 11">
            <a:extLst>
              <a:ext uri="{FF2B5EF4-FFF2-40B4-BE49-F238E27FC236}">
                <a16:creationId xmlns:a16="http://schemas.microsoft.com/office/drawing/2014/main" id="{034303D6-16FE-40D0-AFBE-E810942BB87B}"/>
              </a:ext>
            </a:extLst>
          </p:cNvPr>
          <p:cNvSpPr/>
          <p:nvPr/>
        </p:nvSpPr>
        <p:spPr>
          <a:xfrm>
            <a:off x="874296" y="3530269"/>
            <a:ext cx="2488334" cy="42618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/>
              <a:t>Anmälda frågor</a:t>
            </a:r>
          </a:p>
        </p:txBody>
      </p:sp>
      <p:sp>
        <p:nvSpPr>
          <p:cNvPr id="18" name="textruta 17">
            <a:extLst>
              <a:ext uri="{FF2B5EF4-FFF2-40B4-BE49-F238E27FC236}">
                <a16:creationId xmlns:a16="http://schemas.microsoft.com/office/drawing/2014/main" id="{9744374B-4929-432A-A295-29074C814612}"/>
              </a:ext>
            </a:extLst>
          </p:cNvPr>
          <p:cNvSpPr txBox="1"/>
          <p:nvPr/>
        </p:nvSpPr>
        <p:spPr>
          <a:xfrm>
            <a:off x="3362630" y="2311856"/>
            <a:ext cx="91645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1800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sv-SE" sz="1400"/>
              <a:t>Avstämnings- och informationspunkter från förvaltningen</a:t>
            </a:r>
          </a:p>
        </p:txBody>
      </p:sp>
      <p:sp>
        <p:nvSpPr>
          <p:cNvPr id="21" name="textruta 20">
            <a:extLst>
              <a:ext uri="{FF2B5EF4-FFF2-40B4-BE49-F238E27FC236}">
                <a16:creationId xmlns:a16="http://schemas.microsoft.com/office/drawing/2014/main" id="{A62B49AB-A32F-4984-BF62-9768711D198F}"/>
              </a:ext>
            </a:extLst>
          </p:cNvPr>
          <p:cNvSpPr txBox="1"/>
          <p:nvPr/>
        </p:nvSpPr>
        <p:spPr>
          <a:xfrm>
            <a:off x="3467100" y="3631318"/>
            <a:ext cx="8583566" cy="2240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1800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sv-SE" sz="1400"/>
              <a:t>Möjlighet för regionerna att lyfta pågående aktiviteter eller utmaningar ni önskar att ta hjälp av nätverket</a:t>
            </a:r>
          </a:p>
        </p:txBody>
      </p:sp>
      <p:sp>
        <p:nvSpPr>
          <p:cNvPr id="22" name="textruta 21">
            <a:extLst>
              <a:ext uri="{FF2B5EF4-FFF2-40B4-BE49-F238E27FC236}">
                <a16:creationId xmlns:a16="http://schemas.microsoft.com/office/drawing/2014/main" id="{DF75DCBC-0D5E-44B9-AC62-426DB0D23239}"/>
              </a:ext>
            </a:extLst>
          </p:cNvPr>
          <p:cNvSpPr txBox="1"/>
          <p:nvPr/>
        </p:nvSpPr>
        <p:spPr>
          <a:xfrm>
            <a:off x="3467100" y="3156147"/>
            <a:ext cx="8583566" cy="4261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sv-SE" sz="1400"/>
          </a:p>
        </p:txBody>
      </p:sp>
    </p:spTree>
    <p:extLst>
      <p:ext uri="{BB962C8B-B14F-4D97-AF65-F5344CB8AC3E}">
        <p14:creationId xmlns:p14="http://schemas.microsoft.com/office/powerpoint/2010/main" val="37968637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/>
              <a:t>Agenda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4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666776" y="2165682"/>
            <a:ext cx="10517780" cy="31859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 b="1"/>
              <a:t>Information från förvaltningen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sv-SE" sz="2000"/>
              <a:t>Anmälda fråg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b="1"/>
          </a:p>
        </p:txBody>
      </p:sp>
    </p:spTree>
    <p:extLst>
      <p:ext uri="{BB962C8B-B14F-4D97-AF65-F5344CB8AC3E}">
        <p14:creationId xmlns:p14="http://schemas.microsoft.com/office/powerpoint/2010/main" val="28502662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/>
              <a:t>Användarforum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5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765990" y="1836019"/>
            <a:ext cx="10664010" cy="204510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/>
              <a:t>Frekvens, var 14e dag. Varannan gång förvaltningen och SOBCAS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/>
              <a:t>Spelas in och publiceras på Förvaltningens informationssida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/>
              <a:t>Vem som helst får delta. Ni får vidarebefordra inbjudan utefter önska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/>
              <a:t>Frågor anmäls på förhand 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4F1B58EF-0AF9-4835-911F-C3ECB385AAED}"/>
              </a:ext>
            </a:extLst>
          </p:cNvPr>
          <p:cNvSpPr/>
          <p:nvPr/>
        </p:nvSpPr>
        <p:spPr>
          <a:xfrm>
            <a:off x="2042160" y="4442510"/>
            <a:ext cx="763016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v-SE" sz="2400" b="1">
                <a:solidFill>
                  <a:schemeClr val="accent2">
                    <a:lumMod val="75000"/>
                  </a:schemeClr>
                </a:solidFill>
              </a:rPr>
              <a:t>Syfte: Koordinera och samla in behov samt kanal för informations- och erfarenhetsutbyte </a:t>
            </a:r>
          </a:p>
        </p:txBody>
      </p:sp>
    </p:spTree>
    <p:extLst>
      <p:ext uri="{BB962C8B-B14F-4D97-AF65-F5344CB8AC3E}">
        <p14:creationId xmlns:p14="http://schemas.microsoft.com/office/powerpoint/2010/main" val="10873661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703670"/>
          </a:xfrm>
        </p:spPr>
        <p:txBody>
          <a:bodyPr/>
          <a:lstStyle/>
          <a:p>
            <a:pPr algn="l" fontAlgn="ctr"/>
            <a:r>
              <a:rPr lang="sv-SE" sz="4000"/>
              <a:t>Eventuell referensgrupp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6</a:t>
            </a:fld>
            <a:endParaRPr lang="sv-SE"/>
          </a:p>
        </p:txBody>
      </p:sp>
      <p:pic>
        <p:nvPicPr>
          <p:cNvPr id="2050" name="Picture 2" descr="Möte, Samarbete, Personlig, Lagarbete, Organisation">
            <a:extLst>
              <a:ext uri="{FF2B5EF4-FFF2-40B4-BE49-F238E27FC236}">
                <a16:creationId xmlns:a16="http://schemas.microsoft.com/office/drawing/2014/main" id="{9488EBE9-0A96-4228-AF72-FCB2F7FA46D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013" b="15906"/>
          <a:stretch/>
        </p:blipFill>
        <p:spPr bwMode="auto">
          <a:xfrm>
            <a:off x="2062480" y="1635760"/>
            <a:ext cx="7223760" cy="4344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01820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563628"/>
          </a:xfrm>
        </p:spPr>
        <p:txBody>
          <a:bodyPr/>
          <a:lstStyle/>
          <a:p>
            <a:pPr algn="l" fontAlgn="ctr"/>
            <a:r>
              <a:rPr lang="sv-SE" sz="4000"/>
              <a:t>Gallring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7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666776" y="1673312"/>
            <a:ext cx="10517780" cy="3185963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spcBef>
                <a:spcPts val="1200"/>
              </a:spcBef>
            </a:pPr>
            <a:r>
              <a:rPr lang="sv-SE" sz="2000" b="1"/>
              <a:t>Ur Bruksanvisningen</a:t>
            </a:r>
            <a:endParaRPr lang="sv-SE"/>
          </a:p>
          <a:p>
            <a:pPr>
              <a:spcBef>
                <a:spcPts val="1200"/>
              </a:spcBef>
            </a:pPr>
            <a:r>
              <a:rPr lang="sv-SE" sz="1400" b="1"/>
              <a:t>18. Gallring och export</a:t>
            </a:r>
          </a:p>
          <a:p>
            <a:pPr>
              <a:spcBef>
                <a:spcPts val="1200"/>
              </a:spcBef>
            </a:pPr>
            <a:r>
              <a:rPr lang="sv-SE" sz="1400"/>
              <a:t>Vårdgivaren är ansvarig för att det finns gallrings- och exportrutiner. Rekommendationen från Inera AB är att gallring ska ske inom </a:t>
            </a:r>
          </a:p>
          <a:p>
            <a:pPr>
              <a:spcBef>
                <a:spcPts val="1200"/>
              </a:spcBef>
            </a:pPr>
            <a:r>
              <a:rPr lang="sv-SE" sz="1400"/>
              <a:t>ett år efter att ett stöd- eller behandlingsprogram är startat. I ett landsting eller en kommun förutsätter sådan gallring stöd i </a:t>
            </a:r>
          </a:p>
          <a:p>
            <a:pPr>
              <a:spcBef>
                <a:spcPts val="1200"/>
              </a:spcBef>
            </a:pPr>
            <a:r>
              <a:rPr lang="sv-SE" sz="1400"/>
              <a:t>gallringsföreskrifter som landstingets eller Kommunens arkivmyndighet har meddelat.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b="1"/>
          </a:p>
        </p:txBody>
      </p:sp>
    </p:spTree>
    <p:extLst>
      <p:ext uri="{BB962C8B-B14F-4D97-AF65-F5344CB8AC3E}">
        <p14:creationId xmlns:p14="http://schemas.microsoft.com/office/powerpoint/2010/main" val="27686324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563628"/>
          </a:xfrm>
        </p:spPr>
        <p:txBody>
          <a:bodyPr/>
          <a:lstStyle/>
          <a:p>
            <a:pPr algn="l" fontAlgn="ctr"/>
            <a:r>
              <a:rPr lang="sv-SE" sz="4000"/>
              <a:t>Gallring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8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666776" y="1673312"/>
            <a:ext cx="10517780" cy="3185963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/>
              <a:t>42% av samtliga moment har pågått mer än 1 å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b="1"/>
              <a:t> </a:t>
            </a:r>
            <a:r>
              <a:rPr lang="sv-SE"/>
              <a:t>Aktuella frågeställningar från såväl sydöstra sjukvårdsregionen) som från Min vårdplan och önskemål</a:t>
            </a:r>
          </a:p>
          <a:p>
            <a:r>
              <a:rPr lang="sv-SE"/>
              <a:t>      om ändring av rekommendationen till 2 år</a:t>
            </a:r>
          </a:p>
          <a:p>
            <a:endParaRPr lang="sv-SE"/>
          </a:p>
          <a:p>
            <a:r>
              <a:rPr lang="sv-SE"/>
              <a:t>Bakgru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/>
              <a:t>1-årsfrist satt för att inte riskera </a:t>
            </a:r>
            <a:r>
              <a:rPr lang="sv-SE" err="1"/>
              <a:t>SoB:s</a:t>
            </a:r>
            <a:r>
              <a:rPr lang="sv-SE"/>
              <a:t> status som behandlingsplatt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/>
              <a:t>Om info sparas längre riskerar systemet att klassas som journalsystem vilket medför konsekvenser för</a:t>
            </a:r>
          </a:p>
          <a:p>
            <a:r>
              <a:rPr lang="sv-SE"/>
              <a:t>     såväl vårdgivare (PUA), krav på bevarande i 10 år som för Inera som tillverkare som då blir ansvarig </a:t>
            </a:r>
          </a:p>
          <a:p>
            <a:r>
              <a:rPr lang="sv-SE"/>
              <a:t>     för drift av journal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/>
              <a:t>Krav på journalföring (i dag manuell) -&gt; </a:t>
            </a:r>
            <a:r>
              <a:rPr lang="sv-SE" err="1"/>
              <a:t>ev</a:t>
            </a:r>
            <a:r>
              <a:rPr lang="sv-SE"/>
              <a:t> dataexport -&gt; gall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/>
              <a:t>2-årsfrist gäller för 1177 Vårdguidens </a:t>
            </a:r>
            <a:r>
              <a:rPr lang="sv-SE" err="1"/>
              <a:t>e-tjänster</a:t>
            </a:r>
            <a:r>
              <a:rPr lang="sv-SE"/>
              <a:t> och baseras på att det där rör sig om</a:t>
            </a:r>
          </a:p>
          <a:p>
            <a:r>
              <a:rPr lang="sv-SE"/>
              <a:t>     vårddokumentation av annat slag än journalhandlingar</a:t>
            </a:r>
          </a:p>
          <a:p>
            <a:endParaRPr lang="sv-SE"/>
          </a:p>
          <a:p>
            <a:r>
              <a:rPr lang="sv-SE"/>
              <a:t> </a:t>
            </a:r>
            <a:endParaRPr lang="sv-SE" b="1"/>
          </a:p>
        </p:txBody>
      </p:sp>
    </p:spTree>
    <p:extLst>
      <p:ext uri="{BB962C8B-B14F-4D97-AF65-F5344CB8AC3E}">
        <p14:creationId xmlns:p14="http://schemas.microsoft.com/office/powerpoint/2010/main" val="26684559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142FAB-2177-42C2-83A7-B8FCD6F5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040" y="307375"/>
            <a:ext cx="11027920" cy="1563628"/>
          </a:xfrm>
        </p:spPr>
        <p:txBody>
          <a:bodyPr/>
          <a:lstStyle/>
          <a:p>
            <a:pPr algn="l" fontAlgn="ctr"/>
            <a:r>
              <a:rPr lang="sv-SE" sz="4000"/>
              <a:t>Gallring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A63A69-9B4D-42FD-BD64-440788F67C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9</a:t>
            </a:fld>
            <a:endParaRPr lang="sv-SE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E66C5368-8331-464F-8C50-5BB97655E8A7}"/>
              </a:ext>
            </a:extLst>
          </p:cNvPr>
          <p:cNvSpPr txBox="1"/>
          <p:nvPr/>
        </p:nvSpPr>
        <p:spPr>
          <a:xfrm>
            <a:off x="666776" y="1673312"/>
            <a:ext cx="10517780" cy="3185963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r>
              <a:rPr lang="sv-SE"/>
              <a:t>Hur går vi vidare?</a:t>
            </a:r>
          </a:p>
          <a:p>
            <a:endParaRPr lang="sv-SE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/>
              <a:t>Utredning planeras inom ramen för utvecklingsprojekt kring Min vårdpl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/>
              <a:t>Diskutera gärna frågan lokalt/regionalt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/>
              <a:t>Hur ser behoven ut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/>
              <a:t>Av vilka skäl pågår vissa stöd- och/eller behandlingsprogram längre än andra? </a:t>
            </a:r>
          </a:p>
        </p:txBody>
      </p:sp>
    </p:spTree>
    <p:extLst>
      <p:ext uri="{BB962C8B-B14F-4D97-AF65-F5344CB8AC3E}">
        <p14:creationId xmlns:p14="http://schemas.microsoft.com/office/powerpoint/2010/main" val="1066893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5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q8pWEAipNB.83_P_hIiw"/>
</p:tagLst>
</file>

<file path=ppt/theme/theme1.xml><?xml version="1.0" encoding="utf-8"?>
<a:theme xmlns:a="http://schemas.openxmlformats.org/drawingml/2006/main" name="1177 Vårguiden">
  <a:themeElements>
    <a:clrScheme name="1177">
      <a:dk1>
        <a:sysClr val="windowText" lastClr="000000"/>
      </a:dk1>
      <a:lt1>
        <a:sysClr val="window" lastClr="FFFFFF"/>
      </a:lt1>
      <a:dk2>
        <a:srgbClr val="FA8100"/>
      </a:dk2>
      <a:lt2>
        <a:srgbClr val="636466"/>
      </a:lt2>
      <a:accent1>
        <a:srgbClr val="C12143"/>
      </a:accent1>
      <a:accent2>
        <a:srgbClr val="6A0032"/>
      </a:accent2>
      <a:accent3>
        <a:srgbClr val="FAEEF0"/>
      </a:accent3>
      <a:accent4>
        <a:srgbClr val="396291"/>
      </a:accent4>
      <a:accent5>
        <a:srgbClr val="438F2C"/>
      </a:accent5>
      <a:accent6>
        <a:srgbClr val="A9428B"/>
      </a:accent6>
      <a:hlink>
        <a:srgbClr val="C12143"/>
      </a:hlink>
      <a:folHlink>
        <a:srgbClr val="6A0032"/>
      </a:folHlink>
    </a:clrScheme>
    <a:fontScheme name="1177">
      <a:majorFont>
        <a:latin typeface="Inter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all_PPT_20190416  -  Skrivskyddad" id="{22903717-B928-4645-BD5D-D0BD4232857A}" vid="{FA763605-81F1-4FF2-B45C-69DD8ABF7492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04AF1B5AFADE1438984E4ED97CAED62" ma:contentTypeVersion="5" ma:contentTypeDescription="Skapa ett nytt dokument." ma:contentTypeScope="" ma:versionID="e0023ee663e4091ae33aa49e935b4737">
  <xsd:schema xmlns:xsd="http://www.w3.org/2001/XMLSchema" xmlns:xs="http://www.w3.org/2001/XMLSchema" xmlns:p="http://schemas.microsoft.com/office/2006/metadata/properties" xmlns:ns2="69252be8-17ef-4408-949c-5e7cc87314a9" targetNamespace="http://schemas.microsoft.com/office/2006/metadata/properties" ma:root="true" ma:fieldsID="628262377409a6bb157e898a7e789d30" ns2:_="">
    <xsd:import namespace="69252be8-17ef-4408-949c-5e7cc87314a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252be8-17ef-4408-949c-5e7cc87314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4068680-729C-46D7-81EE-A3EC47914E3B}">
  <ds:schemaRefs>
    <ds:schemaRef ds:uri="69252be8-17ef-4408-949c-5e7cc87314a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B9621F0-D4E8-4C32-B409-3F12DE79F3B4}">
  <ds:schemaRefs>
    <ds:schemaRef ds:uri="69252be8-17ef-4408-949c-5e7cc87314a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15AB53AA-EBE4-46F9-A91E-045D87E59A5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Widescreen</PresentationFormat>
  <Slides>14</Slides>
  <Notes>1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5" baseType="lpstr">
      <vt:lpstr>1177 Vårguiden</vt:lpstr>
      <vt:lpstr>Användarforum    Stöd och behandling</vt:lpstr>
      <vt:lpstr>Syfte: Koordinera och samla in behov samt kanal för informations- och erfarenhetsutbyte </vt:lpstr>
      <vt:lpstr>Användarforum 2020</vt:lpstr>
      <vt:lpstr>Agenda</vt:lpstr>
      <vt:lpstr>Användarforum</vt:lpstr>
      <vt:lpstr>Eventuell referensgrupp</vt:lpstr>
      <vt:lpstr>Gallring</vt:lpstr>
      <vt:lpstr>Gallring</vt:lpstr>
      <vt:lpstr>Gallring</vt:lpstr>
      <vt:lpstr>PowerPoint Presentation</vt:lpstr>
      <vt:lpstr>Agenda</vt:lpstr>
      <vt:lpstr>Anmälda frågor</vt:lpstr>
      <vt:lpstr>Tack för er uppmärksamhet!  Finns det fördjupningsområde ni är intresserade av att höra om,  skicka ett ärende till supporten och tagga med ”Användarforum”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 rubrik kommer att stå här och kan vara på tre rader</dc:title>
  <dc:creator>Bennani Safia</dc:creator>
  <cp:revision>1</cp:revision>
  <dcterms:created xsi:type="dcterms:W3CDTF">2019-08-13T08:23:18Z</dcterms:created>
  <dcterms:modified xsi:type="dcterms:W3CDTF">2020-01-24T12:01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4AF1B5AFADE1438984E4ED97CAED62</vt:lpwstr>
  </property>
</Properties>
</file>